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sldIdLst>
    <p:sldId id="256" r:id="rId2"/>
  </p:sldIdLst>
  <p:sldSz cx="48801338" cy="31510288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44D222-C0CA-F04E-9B54-F8E262D35A5A}" v="3" dt="2023-03-14T00:34:41.1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4"/>
  </p:normalViewPr>
  <p:slideViewPr>
    <p:cSldViewPr snapToGrid="0">
      <p:cViewPr varScale="1">
        <p:scale>
          <a:sx n="25" d="100"/>
          <a:sy n="25" d="100"/>
        </p:scale>
        <p:origin x="90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ul Jordan" userId="ed43b065-ed91-4d94-a70c-3ec7c0759f23" providerId="ADAL" clId="{B544D222-C0CA-F04E-9B54-F8E262D35A5A}"/>
    <pc:docChg chg="custSel modSld">
      <pc:chgData name="Paul Jordan" userId="ed43b065-ed91-4d94-a70c-3ec7c0759f23" providerId="ADAL" clId="{B544D222-C0CA-F04E-9B54-F8E262D35A5A}" dt="2023-03-14T00:34:44.368" v="127" actId="1076"/>
      <pc:docMkLst>
        <pc:docMk/>
      </pc:docMkLst>
      <pc:sldChg chg="addSp modSp mod">
        <pc:chgData name="Paul Jordan" userId="ed43b065-ed91-4d94-a70c-3ec7c0759f23" providerId="ADAL" clId="{B544D222-C0CA-F04E-9B54-F8E262D35A5A}" dt="2023-03-14T00:34:44.368" v="127" actId="1076"/>
        <pc:sldMkLst>
          <pc:docMk/>
          <pc:sldMk cId="2721895797" sldId="256"/>
        </pc:sldMkLst>
        <pc:spChg chg="add mod">
          <ac:chgData name="Paul Jordan" userId="ed43b065-ed91-4d94-a70c-3ec7c0759f23" providerId="ADAL" clId="{B544D222-C0CA-F04E-9B54-F8E262D35A5A}" dt="2023-03-14T00:34:44.368" v="127" actId="1076"/>
          <ac:spMkLst>
            <pc:docMk/>
            <pc:sldMk cId="2721895797" sldId="256"/>
            <ac:spMk id="2" creationId="{38FEEB32-8B94-FDA4-3BD6-12BC7B0D1937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0101" y="5156895"/>
            <a:ext cx="41481137" cy="10970248"/>
          </a:xfrm>
        </p:spPr>
        <p:txBody>
          <a:bodyPr anchor="b"/>
          <a:lstStyle>
            <a:lvl1pPr algn="ctr">
              <a:defRPr sz="2756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00167" y="16550198"/>
            <a:ext cx="36601004" cy="7607690"/>
          </a:xfrm>
        </p:spPr>
        <p:txBody>
          <a:bodyPr/>
          <a:lstStyle>
            <a:lvl1pPr marL="0" indent="0" algn="ctr">
              <a:buNone/>
              <a:defRPr sz="11027"/>
            </a:lvl1pPr>
            <a:lvl2pPr marL="2100697" indent="0" algn="ctr">
              <a:buNone/>
              <a:defRPr sz="9189"/>
            </a:lvl2pPr>
            <a:lvl3pPr marL="4201394" indent="0" algn="ctr">
              <a:buNone/>
              <a:defRPr sz="8270"/>
            </a:lvl3pPr>
            <a:lvl4pPr marL="6302091" indent="0" algn="ctr">
              <a:buNone/>
              <a:defRPr sz="7352"/>
            </a:lvl4pPr>
            <a:lvl5pPr marL="8402787" indent="0" algn="ctr">
              <a:buNone/>
              <a:defRPr sz="7352"/>
            </a:lvl5pPr>
            <a:lvl6pPr marL="10503484" indent="0" algn="ctr">
              <a:buNone/>
              <a:defRPr sz="7352"/>
            </a:lvl6pPr>
            <a:lvl7pPr marL="12604181" indent="0" algn="ctr">
              <a:buNone/>
              <a:defRPr sz="7352"/>
            </a:lvl7pPr>
            <a:lvl8pPr marL="14704878" indent="0" algn="ctr">
              <a:buNone/>
              <a:defRPr sz="7352"/>
            </a:lvl8pPr>
            <a:lvl9pPr marL="16805575" indent="0" algn="ctr">
              <a:buNone/>
              <a:defRPr sz="735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6754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436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4923460" y="1677631"/>
            <a:ext cx="10522789" cy="26703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55095" y="1677631"/>
            <a:ext cx="30958349" cy="267035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072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179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9677" y="7855699"/>
            <a:ext cx="42091154" cy="13107402"/>
          </a:xfrm>
        </p:spPr>
        <p:txBody>
          <a:bodyPr anchor="b"/>
          <a:lstStyle>
            <a:lvl1pPr>
              <a:defRPr sz="2756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29677" y="21087102"/>
            <a:ext cx="42091154" cy="6892873"/>
          </a:xfrm>
        </p:spPr>
        <p:txBody>
          <a:bodyPr/>
          <a:lstStyle>
            <a:lvl1pPr marL="0" indent="0">
              <a:buNone/>
              <a:defRPr sz="11027">
                <a:solidFill>
                  <a:schemeClr val="tx1"/>
                </a:solidFill>
              </a:defRPr>
            </a:lvl1pPr>
            <a:lvl2pPr marL="2100697" indent="0">
              <a:buNone/>
              <a:defRPr sz="9189">
                <a:solidFill>
                  <a:schemeClr val="tx1">
                    <a:tint val="75000"/>
                  </a:schemeClr>
                </a:solidFill>
              </a:defRPr>
            </a:lvl2pPr>
            <a:lvl3pPr marL="4201394" indent="0">
              <a:buNone/>
              <a:defRPr sz="8270">
                <a:solidFill>
                  <a:schemeClr val="tx1">
                    <a:tint val="75000"/>
                  </a:schemeClr>
                </a:solidFill>
              </a:defRPr>
            </a:lvl3pPr>
            <a:lvl4pPr marL="6302091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4pPr>
            <a:lvl5pPr marL="8402787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5pPr>
            <a:lvl6pPr marL="10503484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6pPr>
            <a:lvl7pPr marL="12604181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7pPr>
            <a:lvl8pPr marL="14704878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8pPr>
            <a:lvl9pPr marL="16805575" indent="0">
              <a:buNone/>
              <a:defRPr sz="73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63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55092" y="8388156"/>
            <a:ext cx="20740569" cy="19992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05677" y="8388156"/>
            <a:ext cx="20740569" cy="19992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7003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1448" y="1677638"/>
            <a:ext cx="42091154" cy="60905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1454" y="7724399"/>
            <a:ext cx="20645250" cy="3785609"/>
          </a:xfrm>
        </p:spPr>
        <p:txBody>
          <a:bodyPr anchor="b"/>
          <a:lstStyle>
            <a:lvl1pPr marL="0" indent="0">
              <a:buNone/>
              <a:defRPr sz="11027" b="1"/>
            </a:lvl1pPr>
            <a:lvl2pPr marL="2100697" indent="0">
              <a:buNone/>
              <a:defRPr sz="9189" b="1"/>
            </a:lvl2pPr>
            <a:lvl3pPr marL="4201394" indent="0">
              <a:buNone/>
              <a:defRPr sz="8270" b="1"/>
            </a:lvl3pPr>
            <a:lvl4pPr marL="6302091" indent="0">
              <a:buNone/>
              <a:defRPr sz="7352" b="1"/>
            </a:lvl4pPr>
            <a:lvl5pPr marL="8402787" indent="0">
              <a:buNone/>
              <a:defRPr sz="7352" b="1"/>
            </a:lvl5pPr>
            <a:lvl6pPr marL="10503484" indent="0">
              <a:buNone/>
              <a:defRPr sz="7352" b="1"/>
            </a:lvl6pPr>
            <a:lvl7pPr marL="12604181" indent="0">
              <a:buNone/>
              <a:defRPr sz="7352" b="1"/>
            </a:lvl7pPr>
            <a:lvl8pPr marL="14704878" indent="0">
              <a:buNone/>
              <a:defRPr sz="7352" b="1"/>
            </a:lvl8pPr>
            <a:lvl9pPr marL="16805575" indent="0">
              <a:buNone/>
              <a:defRPr sz="735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1454" y="11510008"/>
            <a:ext cx="20645250" cy="16929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4705680" y="7724399"/>
            <a:ext cx="20746925" cy="3785609"/>
          </a:xfrm>
        </p:spPr>
        <p:txBody>
          <a:bodyPr anchor="b"/>
          <a:lstStyle>
            <a:lvl1pPr marL="0" indent="0">
              <a:buNone/>
              <a:defRPr sz="11027" b="1"/>
            </a:lvl1pPr>
            <a:lvl2pPr marL="2100697" indent="0">
              <a:buNone/>
              <a:defRPr sz="9189" b="1"/>
            </a:lvl2pPr>
            <a:lvl3pPr marL="4201394" indent="0">
              <a:buNone/>
              <a:defRPr sz="8270" b="1"/>
            </a:lvl3pPr>
            <a:lvl4pPr marL="6302091" indent="0">
              <a:buNone/>
              <a:defRPr sz="7352" b="1"/>
            </a:lvl4pPr>
            <a:lvl5pPr marL="8402787" indent="0">
              <a:buNone/>
              <a:defRPr sz="7352" b="1"/>
            </a:lvl5pPr>
            <a:lvl6pPr marL="10503484" indent="0">
              <a:buNone/>
              <a:defRPr sz="7352" b="1"/>
            </a:lvl6pPr>
            <a:lvl7pPr marL="12604181" indent="0">
              <a:buNone/>
              <a:defRPr sz="7352" b="1"/>
            </a:lvl7pPr>
            <a:lvl8pPr marL="14704878" indent="0">
              <a:buNone/>
              <a:defRPr sz="7352" b="1"/>
            </a:lvl8pPr>
            <a:lvl9pPr marL="16805575" indent="0">
              <a:buNone/>
              <a:defRPr sz="735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4705680" y="11510008"/>
            <a:ext cx="20746925" cy="16929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645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318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326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1448" y="2100686"/>
            <a:ext cx="15739702" cy="7352401"/>
          </a:xfrm>
        </p:spPr>
        <p:txBody>
          <a:bodyPr anchor="b"/>
          <a:lstStyle>
            <a:lvl1pPr>
              <a:defRPr sz="1470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746925" y="4536905"/>
            <a:ext cx="24705677" cy="22392728"/>
          </a:xfrm>
        </p:spPr>
        <p:txBody>
          <a:bodyPr/>
          <a:lstStyle>
            <a:lvl1pPr>
              <a:defRPr sz="14703"/>
            </a:lvl1pPr>
            <a:lvl2pPr>
              <a:defRPr sz="12865"/>
            </a:lvl2pPr>
            <a:lvl3pPr>
              <a:defRPr sz="11027"/>
            </a:lvl3pPr>
            <a:lvl4pPr>
              <a:defRPr sz="9189"/>
            </a:lvl4pPr>
            <a:lvl5pPr>
              <a:defRPr sz="9189"/>
            </a:lvl5pPr>
            <a:lvl6pPr>
              <a:defRPr sz="9189"/>
            </a:lvl6pPr>
            <a:lvl7pPr>
              <a:defRPr sz="9189"/>
            </a:lvl7pPr>
            <a:lvl8pPr>
              <a:defRPr sz="9189"/>
            </a:lvl8pPr>
            <a:lvl9pPr>
              <a:defRPr sz="918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61448" y="9453086"/>
            <a:ext cx="15739702" cy="17513012"/>
          </a:xfrm>
        </p:spPr>
        <p:txBody>
          <a:bodyPr/>
          <a:lstStyle>
            <a:lvl1pPr marL="0" indent="0">
              <a:buNone/>
              <a:defRPr sz="7352"/>
            </a:lvl1pPr>
            <a:lvl2pPr marL="2100697" indent="0">
              <a:buNone/>
              <a:defRPr sz="6433"/>
            </a:lvl2pPr>
            <a:lvl3pPr marL="4201394" indent="0">
              <a:buNone/>
              <a:defRPr sz="5514"/>
            </a:lvl3pPr>
            <a:lvl4pPr marL="6302091" indent="0">
              <a:buNone/>
              <a:defRPr sz="4595"/>
            </a:lvl4pPr>
            <a:lvl5pPr marL="8402787" indent="0">
              <a:buNone/>
              <a:defRPr sz="4595"/>
            </a:lvl5pPr>
            <a:lvl6pPr marL="10503484" indent="0">
              <a:buNone/>
              <a:defRPr sz="4595"/>
            </a:lvl6pPr>
            <a:lvl7pPr marL="12604181" indent="0">
              <a:buNone/>
              <a:defRPr sz="4595"/>
            </a:lvl7pPr>
            <a:lvl8pPr marL="14704878" indent="0">
              <a:buNone/>
              <a:defRPr sz="4595"/>
            </a:lvl8pPr>
            <a:lvl9pPr marL="16805575" indent="0">
              <a:buNone/>
              <a:defRPr sz="459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372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1448" y="2100686"/>
            <a:ext cx="15739702" cy="7352401"/>
          </a:xfrm>
        </p:spPr>
        <p:txBody>
          <a:bodyPr anchor="b"/>
          <a:lstStyle>
            <a:lvl1pPr>
              <a:defRPr sz="1470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0746925" y="4536905"/>
            <a:ext cx="24705677" cy="22392728"/>
          </a:xfrm>
        </p:spPr>
        <p:txBody>
          <a:bodyPr anchor="t"/>
          <a:lstStyle>
            <a:lvl1pPr marL="0" indent="0">
              <a:buNone/>
              <a:defRPr sz="14703"/>
            </a:lvl1pPr>
            <a:lvl2pPr marL="2100697" indent="0">
              <a:buNone/>
              <a:defRPr sz="12865"/>
            </a:lvl2pPr>
            <a:lvl3pPr marL="4201394" indent="0">
              <a:buNone/>
              <a:defRPr sz="11027"/>
            </a:lvl3pPr>
            <a:lvl4pPr marL="6302091" indent="0">
              <a:buNone/>
              <a:defRPr sz="9189"/>
            </a:lvl4pPr>
            <a:lvl5pPr marL="8402787" indent="0">
              <a:buNone/>
              <a:defRPr sz="9189"/>
            </a:lvl5pPr>
            <a:lvl6pPr marL="10503484" indent="0">
              <a:buNone/>
              <a:defRPr sz="9189"/>
            </a:lvl6pPr>
            <a:lvl7pPr marL="12604181" indent="0">
              <a:buNone/>
              <a:defRPr sz="9189"/>
            </a:lvl7pPr>
            <a:lvl8pPr marL="14704878" indent="0">
              <a:buNone/>
              <a:defRPr sz="9189"/>
            </a:lvl8pPr>
            <a:lvl9pPr marL="16805575" indent="0">
              <a:buNone/>
              <a:defRPr sz="918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61448" y="9453086"/>
            <a:ext cx="15739702" cy="17513012"/>
          </a:xfrm>
        </p:spPr>
        <p:txBody>
          <a:bodyPr/>
          <a:lstStyle>
            <a:lvl1pPr marL="0" indent="0">
              <a:buNone/>
              <a:defRPr sz="7352"/>
            </a:lvl1pPr>
            <a:lvl2pPr marL="2100697" indent="0">
              <a:buNone/>
              <a:defRPr sz="6433"/>
            </a:lvl2pPr>
            <a:lvl3pPr marL="4201394" indent="0">
              <a:buNone/>
              <a:defRPr sz="5514"/>
            </a:lvl3pPr>
            <a:lvl4pPr marL="6302091" indent="0">
              <a:buNone/>
              <a:defRPr sz="4595"/>
            </a:lvl4pPr>
            <a:lvl5pPr marL="8402787" indent="0">
              <a:buNone/>
              <a:defRPr sz="4595"/>
            </a:lvl5pPr>
            <a:lvl6pPr marL="10503484" indent="0">
              <a:buNone/>
              <a:defRPr sz="4595"/>
            </a:lvl6pPr>
            <a:lvl7pPr marL="12604181" indent="0">
              <a:buNone/>
              <a:defRPr sz="4595"/>
            </a:lvl7pPr>
            <a:lvl8pPr marL="14704878" indent="0">
              <a:buNone/>
              <a:defRPr sz="4595"/>
            </a:lvl8pPr>
            <a:lvl9pPr marL="16805575" indent="0">
              <a:buNone/>
              <a:defRPr sz="459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202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5092" y="1677638"/>
            <a:ext cx="42091154" cy="60905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5092" y="8388156"/>
            <a:ext cx="42091154" cy="19992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55092" y="29205376"/>
            <a:ext cx="10980301" cy="1677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55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94E585-D651-7F49-98BC-34561835FAA9}" type="datetimeFigureOut">
              <a:rPr lang="en-US" smtClean="0"/>
              <a:t>3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65443" y="29205376"/>
            <a:ext cx="16470452" cy="1677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5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465945" y="29205376"/>
            <a:ext cx="10980301" cy="1677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5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0712A9-16B5-5642-884F-C65238F74A36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9BA314C-8FD7-E36E-9373-25AFDA5BC3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65241598"/>
              </p:ext>
            </p:extLst>
          </p:nvPr>
        </p:nvGraphicFramePr>
        <p:xfrm>
          <a:off x="6360" y="7297"/>
          <a:ext cx="4911" cy="7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9BA314C-8FD7-E36E-9373-25AFDA5BC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360" y="7297"/>
                        <a:ext cx="4911" cy="72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606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201394" rtl="0" eaLnBrk="1" latinLnBrk="0" hangingPunct="1">
        <a:lnSpc>
          <a:spcPct val="90000"/>
        </a:lnSpc>
        <a:spcBef>
          <a:spcPct val="0"/>
        </a:spcBef>
        <a:buNone/>
        <a:defRPr sz="202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050348" indent="-1050348" algn="l" defTabSz="4201394" rtl="0" eaLnBrk="1" latinLnBrk="0" hangingPunct="1">
        <a:lnSpc>
          <a:spcPct val="90000"/>
        </a:lnSpc>
        <a:spcBef>
          <a:spcPts val="4595"/>
        </a:spcBef>
        <a:buFont typeface="Arial" panose="020B0604020202020204" pitchFamily="34" charset="0"/>
        <a:buChar char="•"/>
        <a:defRPr sz="12865" kern="1200">
          <a:solidFill>
            <a:schemeClr val="tx1"/>
          </a:solidFill>
          <a:latin typeface="+mn-lt"/>
          <a:ea typeface="+mn-ea"/>
          <a:cs typeface="+mn-cs"/>
        </a:defRPr>
      </a:lvl1pPr>
      <a:lvl2pPr marL="3151045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11027" kern="1200">
          <a:solidFill>
            <a:schemeClr val="tx1"/>
          </a:solidFill>
          <a:latin typeface="+mn-lt"/>
          <a:ea typeface="+mn-ea"/>
          <a:cs typeface="+mn-cs"/>
        </a:defRPr>
      </a:lvl2pPr>
      <a:lvl3pPr marL="5251742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9189" kern="1200">
          <a:solidFill>
            <a:schemeClr val="tx1"/>
          </a:solidFill>
          <a:latin typeface="+mn-lt"/>
          <a:ea typeface="+mn-ea"/>
          <a:cs typeface="+mn-cs"/>
        </a:defRPr>
      </a:lvl3pPr>
      <a:lvl4pPr marL="7352439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4pPr>
      <a:lvl5pPr marL="9453136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5pPr>
      <a:lvl6pPr marL="11553833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6pPr>
      <a:lvl7pPr marL="13654529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7pPr>
      <a:lvl8pPr marL="15755226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8pPr>
      <a:lvl9pPr marL="17855923" indent="-1050348" algn="l" defTabSz="4201394" rtl="0" eaLnBrk="1" latinLnBrk="0" hangingPunct="1">
        <a:lnSpc>
          <a:spcPct val="90000"/>
        </a:lnSpc>
        <a:spcBef>
          <a:spcPts val="2297"/>
        </a:spcBef>
        <a:buFont typeface="Arial" panose="020B0604020202020204" pitchFamily="34" charset="0"/>
        <a:buChar char="•"/>
        <a:defRPr sz="82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1pPr>
      <a:lvl2pPr marL="2100697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2pPr>
      <a:lvl3pPr marL="4201394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3pPr>
      <a:lvl4pPr marL="6302091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4pPr>
      <a:lvl5pPr marL="8402787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5pPr>
      <a:lvl6pPr marL="10503484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6pPr>
      <a:lvl7pPr marL="12604181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7pPr>
      <a:lvl8pPr marL="14704878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8pPr>
      <a:lvl9pPr marL="16805575" algn="l" defTabSz="4201394" rtl="0" eaLnBrk="1" latinLnBrk="0" hangingPunct="1">
        <a:defRPr sz="82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3F73B4-F2D2-F358-8FE9-E9ED823A0D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996687"/>
              </p:ext>
            </p:extLst>
          </p:nvPr>
        </p:nvGraphicFramePr>
        <p:xfrm>
          <a:off x="18306259" y="12327732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93F73B4-F2D2-F358-8FE9-E9ED823A0D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306259" y="12327732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82B31A46-BAED-CC99-F67E-BD3E044BA4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48801338" cy="315046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8FEEB32-8B94-FDA4-3BD6-12BC7B0D1937}"/>
              </a:ext>
            </a:extLst>
          </p:cNvPr>
          <p:cNvSpPr txBox="1"/>
          <p:nvPr/>
        </p:nvSpPr>
        <p:spPr>
          <a:xfrm>
            <a:off x="16780669" y="965200"/>
            <a:ext cx="152400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dirty="0"/>
              <a:t>thanks for exploring our website!</a:t>
            </a:r>
          </a:p>
          <a:p>
            <a:pPr algn="ctr"/>
            <a:r>
              <a:rPr lang="en-US" sz="8800" dirty="0"/>
              <a:t>we will provide a press kit soon</a:t>
            </a:r>
          </a:p>
        </p:txBody>
      </p:sp>
    </p:spTree>
    <p:extLst>
      <p:ext uri="{BB962C8B-B14F-4D97-AF65-F5344CB8AC3E}">
        <p14:creationId xmlns:p14="http://schemas.microsoft.com/office/powerpoint/2010/main" val="2721895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2</TotalTime>
  <Words>13</Words>
  <Application>Microsoft Macintosh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dan, Paul</dc:creator>
  <cp:lastModifiedBy>Jordan, Paul</cp:lastModifiedBy>
  <cp:revision>1</cp:revision>
  <dcterms:created xsi:type="dcterms:W3CDTF">2023-03-14T00:27:42Z</dcterms:created>
  <dcterms:modified xsi:type="dcterms:W3CDTF">2023-03-14T00:34:53Z</dcterms:modified>
</cp:coreProperties>
</file>